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1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4"/>
    <p:sldMasterId id="2147483739" r:id="rId5"/>
    <p:sldMasterId id="2147483761" r:id="rId6"/>
    <p:sldMasterId id="2147483804" r:id="rId7"/>
    <p:sldMasterId id="2147483834" r:id="rId8"/>
    <p:sldMasterId id="2147483848" r:id="rId9"/>
    <p:sldMasterId id="2147483882" r:id="rId10"/>
    <p:sldMasterId id="2147483912" r:id="rId11"/>
    <p:sldMasterId id="2147483934" r:id="rId12"/>
    <p:sldMasterId id="2147483939" r:id="rId13"/>
    <p:sldMasterId id="2147483952" r:id="rId14"/>
    <p:sldMasterId id="2147483955" r:id="rId15"/>
    <p:sldMasterId id="2147483961" r:id="rId16"/>
  </p:sldMasterIdLst>
  <p:notesMasterIdLst>
    <p:notesMasterId r:id="rId21"/>
  </p:notesMasterIdLst>
  <p:handoutMasterIdLst>
    <p:handoutMasterId r:id="rId22"/>
  </p:handoutMasterIdLst>
  <p:sldIdLst>
    <p:sldId id="972" r:id="rId17"/>
    <p:sldId id="984" r:id="rId18"/>
    <p:sldId id="985" r:id="rId19"/>
    <p:sldId id="976" r:id="rId20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4"/>
            <p14:sldId id="985"/>
            <p14:sldId id="976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55" d="100"/>
          <a:sy n="155" d="100"/>
        </p:scale>
        <p:origin x="216" y="72"/>
      </p:cViewPr>
      <p:guideLst>
        <p:guide orient="horz" pos="2160"/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10/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10/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7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7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7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7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7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7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7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7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7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7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10/1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10/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10/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10/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10/1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10/1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2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10/1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4" Type="http://schemas.openxmlformats.org/officeDocument/2006/relationships/image" Target="../media/image13.jp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1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5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image" Target="../media/image5.jpe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10/1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10/1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10/1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10/1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10/1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0/1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Recurring Top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3682131"/>
              </p:ext>
            </p:extLst>
          </p:nvPr>
        </p:nvGraphicFramePr>
        <p:xfrm>
          <a:off x="625784" y="886473"/>
          <a:ext cx="785898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C updat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(3rd meeting of month) -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(1st meeting of month) -  October 1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5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Monthly –  September 24 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22</a:t>
                      </a: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 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5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 October 1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Januar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June 11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5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July 16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15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10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 August 13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October 22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Quarterly – September 24, </a:t>
                      </a:r>
                      <a:r>
                        <a:rPr lang="en-US" sz="11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Dec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 smtClean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4938530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32574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mtClean="0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2078076"/>
              </p:ext>
            </p:extLst>
          </p:nvPr>
        </p:nvGraphicFramePr>
        <p:xfrm>
          <a:off x="462690" y="689692"/>
          <a:ext cx="8025668" cy="25980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9307">
                <a:tc rowSpan="10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15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Joint – 145)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South Coast Rail Update (Joint) 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9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ommuter Rail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Vision Update (Joint)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PP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Quarterly Update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5598345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Green Line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Extension Update (Joint) 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Allston I-90 / West Station (Joint)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BTA Winter Resiliency and Preparations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BTA Strategic Plan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ed Blue Connector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Safet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Delegation of Authority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48790746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Operations Center Contract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162126"/>
              </p:ext>
            </p:extLst>
          </p:nvPr>
        </p:nvGraphicFramePr>
        <p:xfrm>
          <a:off x="470002" y="3289546"/>
          <a:ext cx="8025668" cy="180891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9307">
                <a:tc rowSpan="6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22 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6)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Locomotive Fleet Performance and Overhaul Program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rporate Pass Program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AFC 2.0 </a:t>
                      </a:r>
                      <a:r>
                        <a:rPr lang="en-US" sz="1100" b="0" i="0" u="none" strike="noStrike" baseline="0" noProof="0" dirty="0" smtClean="0">
                          <a:solidFill>
                            <a:schemeClr val="tx1"/>
                          </a:solidFill>
                          <a:latin typeface="Arial"/>
                        </a:rPr>
                        <a:t>Project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PPT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BTA Policing Strategy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us Service and Planning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Strategic Plan Process Review 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138322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032574" y="4907102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en-US" smtClean="0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5547999"/>
              </p:ext>
            </p:extLst>
          </p:nvPr>
        </p:nvGraphicFramePr>
        <p:xfrm>
          <a:off x="462690" y="689692"/>
          <a:ext cx="8025668" cy="16412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19307">
                <a:tc rowSpan="6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</a:t>
                      </a: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29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Commuter Rail Performance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1930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Green Line Modernization 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5598345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Mobility as a Service Strategy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2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RIDE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Focus40 Update</a:t>
                      </a: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Public Comments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487907463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xmlns="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0987339"/>
              </p:ext>
            </p:extLst>
          </p:nvPr>
        </p:nvGraphicFramePr>
        <p:xfrm>
          <a:off x="462690" y="2468132"/>
          <a:ext cx="8025668" cy="2141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xmlns="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0">
                <a:tc rowSpan="8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vember</a:t>
                      </a:r>
                      <a:r>
                        <a:rPr lang="en-US" sz="1100" b="1" baseline="0" dirty="0" smtClean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 TBD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helsea Follow-up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latinLnBrk="0" hangingPunct="1">
                        <a:buNone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AFC </a:t>
                      </a: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2.0 – Commuter Rail Implementation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latinLnBrk="0" hangingPunct="1">
                        <a:buNone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820334" rtl="0" eaLnBrk="1" latinLnBrk="0" hangingPunct="1">
                        <a:buNone/>
                      </a:pP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ed/Orange Line Program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Bus Service and Planning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11928262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Commuter Rail Performance Update</a:t>
                      </a:r>
                      <a:endParaRPr lang="en-US" sz="1100" b="0" i="0" u="none" strike="noStrike" kern="1200" baseline="0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Financial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  <a:endParaRPr lang="en-US" sz="1100" b="0" i="0" u="none" strike="noStrike" kern="1200" baseline="0" noProof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487907463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Ridership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b="0" i="0" u="none" strike="noStrike" kern="1200" baseline="0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b="0" i="0" u="none" strike="noStrike" kern="1200" baseline="0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62474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404576174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765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529135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tate of Good Repair - Recast of Capital Need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West Station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South Shore/Old Colony Late Trains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Bus Network Redesign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baseline="0" noProof="0" dirty="0">
                        <a:solidFill>
                          <a:schemeClr val="tx1"/>
                        </a:solidFill>
                        <a:latin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</a:t>
                      </a:r>
                      <a:r>
                        <a:rPr lang="en-US" sz="1100" kern="1200" baseline="0" dirty="0" err="1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Keolis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, …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Early 2019; for CIP process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 smtClean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April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cs typeface="+mn-cs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3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3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7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AEA24755921242B6930DE14963EEA1" ma:contentTypeVersion="2" ma:contentTypeDescription="Create a new document." ma:contentTypeScope="" ma:versionID="05c769840a6264e83d3d2bcd161cf46a">
  <xsd:schema xmlns:xsd="http://www.w3.org/2001/XMLSchema" xmlns:xs="http://www.w3.org/2001/XMLSchema" xmlns:p="http://schemas.microsoft.com/office/2006/metadata/properties" xmlns:ns2="a48fa604-65a2-4043-adf9-a239411230e9" targetNamespace="http://schemas.microsoft.com/office/2006/metadata/properties" ma:root="true" ma:fieldsID="8052e779e10ae18b65a98d9eba4387c7" ns2:_="">
    <xsd:import namespace="a48fa604-65a2-4043-adf9-a239411230e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8fa604-65a2-4043-adf9-a239411230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71B4146-B956-4A03-8F93-19F85DBF532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8fa604-65a2-4043-adf9-a239411230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50F1FC64-E47D-4612-8598-863A817D5AF1}">
  <ds:schemaRefs>
    <ds:schemaRef ds:uri="http://purl.org/dc/terms/"/>
    <ds:schemaRef ds:uri="http://www.w3.org/XML/1998/namespace"/>
    <ds:schemaRef ds:uri="http://schemas.microsoft.com/office/2006/documentManagement/types"/>
    <ds:schemaRef ds:uri="a48fa604-65a2-4043-adf9-a239411230e9"/>
    <ds:schemaRef ds:uri="http://schemas.microsoft.com/office/infopath/2007/PartnerControls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30166</TotalTime>
  <Words>395</Words>
  <Application>Microsoft Office PowerPoint</Application>
  <PresentationFormat>On-screen Show (16:9)</PresentationFormat>
  <Paragraphs>153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8" baseType="lpstr"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CB Calendar – Recurring Topics</dc:title>
  <dc:creator>Trey Joseph Wadsworth</dc:creator>
  <cp:lastModifiedBy>DOT</cp:lastModifiedBy>
  <cp:revision>963</cp:revision>
  <cp:lastPrinted>2018-09-21T14:30:46Z</cp:lastPrinted>
  <dcterms:created xsi:type="dcterms:W3CDTF">2016-03-11T16:43:25Z</dcterms:created>
  <dcterms:modified xsi:type="dcterms:W3CDTF">2018-10-01T15:12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EA24755921242B6930DE14963EEA1</vt:lpwstr>
  </property>
</Properties>
</file>